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7"/>
  </p:notesMasterIdLst>
  <p:sldIdLst>
    <p:sldId id="256" r:id="rId2"/>
    <p:sldId id="314" r:id="rId3"/>
    <p:sldId id="311" r:id="rId4"/>
    <p:sldId id="312" r:id="rId5"/>
    <p:sldId id="315" r:id="rId6"/>
    <p:sldId id="430" r:id="rId7"/>
    <p:sldId id="577" r:id="rId8"/>
    <p:sldId id="578" r:id="rId9"/>
    <p:sldId id="579" r:id="rId10"/>
    <p:sldId id="580" r:id="rId11"/>
    <p:sldId id="581" r:id="rId12"/>
    <p:sldId id="582" r:id="rId13"/>
    <p:sldId id="583" r:id="rId14"/>
    <p:sldId id="584" r:id="rId15"/>
    <p:sldId id="585" r:id="rId16"/>
    <p:sldId id="586" r:id="rId17"/>
    <p:sldId id="587" r:id="rId18"/>
    <p:sldId id="588" r:id="rId19"/>
    <p:sldId id="589" r:id="rId20"/>
    <p:sldId id="590" r:id="rId21"/>
    <p:sldId id="591" r:id="rId22"/>
    <p:sldId id="592" r:id="rId23"/>
    <p:sldId id="593" r:id="rId24"/>
    <p:sldId id="594" r:id="rId25"/>
    <p:sldId id="595" r:id="rId26"/>
    <p:sldId id="596" r:id="rId27"/>
    <p:sldId id="597" r:id="rId28"/>
    <p:sldId id="598" r:id="rId29"/>
    <p:sldId id="599" r:id="rId30"/>
    <p:sldId id="600" r:id="rId31"/>
    <p:sldId id="601" r:id="rId32"/>
    <p:sldId id="602" r:id="rId33"/>
    <p:sldId id="603" r:id="rId34"/>
    <p:sldId id="604" r:id="rId35"/>
    <p:sldId id="261" r:id="rId36"/>
  </p:sldIdLst>
  <p:sldSz cx="12192000" cy="6858000"/>
  <p:notesSz cx="6858000" cy="9144000"/>
  <p:custDataLst>
    <p:tags r:id="rId3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6D24C"/>
    <a:srgbClr val="035920"/>
    <a:srgbClr val="F6F5F3"/>
    <a:srgbClr val="04862F"/>
    <a:srgbClr val="07DB4E"/>
    <a:srgbClr val="08396E"/>
    <a:srgbClr val="0519AB"/>
    <a:srgbClr val="06B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384" y="4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3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18772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2/3/1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4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://127.0.0.1:8080/redis/setAndGet2?name=db&amp;value=redis" TargetMode="External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5.jpeg"/><Relationship Id="rId4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7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8836" y="1020305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669925" y="1144270"/>
            <a:ext cx="10705465" cy="1198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 本书主要以Intellij IDEA进行实验，把springbootDemo.zip进行解压缩到本地硬盘，然后使用Intellij IDEA导入工程，File-&gt; open -&gt; 选择springbootDemo在本地硬盘路径，如果是第一次配置 Spring Boot 的话可能需要等待一会儿 IDEA 下载相应的依赖包，默认创建好的项目结构如下图所示。本案例文件名为”Redis\Chapter08\springbootDemo”</a:t>
            </a:r>
          </a:p>
        </p:txBody>
      </p:sp>
      <p:pic>
        <p:nvPicPr>
          <p:cNvPr id="31" name="图片 3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9015" y="2764473"/>
            <a:ext cx="4413250" cy="226504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5606415" y="2466340"/>
            <a:ext cx="5908675" cy="2861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 springbootDemo的项目结构很清晰，相比Java EE项目少了很多配置文件，默认生成的文件主要有4个。</a:t>
            </a:r>
          </a:p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1  SpringbootDemoApplication.java ： 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一个带有 main() 方法的类，用于启动应用程序。</a:t>
            </a:r>
          </a:p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2  SpringbootDemoApplicationTests.java：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一个空的 Junit 测试类，它加载了一个使用。 Spring Boot 字典配置功能的 Spring 应用程序上下文。</a:t>
            </a:r>
          </a:p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3  application.properties：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一个空的 properties 文件，可以根据需要添加配置属性。</a:t>
            </a:r>
          </a:p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4  pom.xml：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Maven 构建项目的说明文件。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69925" y="1112520"/>
            <a:ext cx="10660380" cy="922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传统基于Java Web应用需要配置 web.xml,讲web应用打成war包放入应用服务器(Tomcat,Weblogic等)中运行。如果基于Spring Boot开发为服务，将变得简单，只需要在pom.xml中引入spring-boot-starter-web 开发依赖模块  。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7595" y="2034540"/>
            <a:ext cx="5419725" cy="704850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1077595" y="2860675"/>
            <a:ext cx="7388225" cy="922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pom.xml文件中默认有两个模块：</a:t>
            </a:r>
          </a:p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1  spring-boot-starter：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核心模块，包括自动配置支持、日志和YAML；</a:t>
            </a:r>
          </a:p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2  spring-boot-starter-test：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测试模块，包括JUnit、Hamcrest、Mockito。</a:t>
            </a:r>
          </a:p>
        </p:txBody>
      </p:sp>
      <p:sp>
        <p:nvSpPr>
          <p:cNvPr id="5" name="矩形 4"/>
          <p:cNvSpPr/>
          <p:nvPr/>
        </p:nvSpPr>
        <p:spPr>
          <a:xfrm>
            <a:off x="669925" y="3903980"/>
            <a:ext cx="10200640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本案例使用”SpringbootDemoApplication.java”，SpringbootDemoApplication是Spring Boot项目的入口类，它的关键源代码如下：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3905" y="4549140"/>
            <a:ext cx="5410200" cy="1190625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6497320" y="4441507"/>
            <a:ext cx="5080000" cy="1753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其中，@SpringBootApplication注解是SpringBoot启动项目时需要加上的。需要说明的是SpringbootDemoApplication是整个Spring Boot应用启动的初始点，因此如果在应用启动格式需要进行某些资源初始化处理，那么最好都在该类完成。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669925" y="1025525"/>
            <a:ext cx="10838815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双击SpringbootDemoApplication，在代码区域鼠标右键运行“Run ‘SpringbootDemoApplic…’” 启动Spring Boot应用，如下图所示。</a:t>
            </a:r>
          </a:p>
        </p:txBody>
      </p:sp>
      <p:pic>
        <p:nvPicPr>
          <p:cNvPr id="115" name="图片 1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5" y="1670685"/>
            <a:ext cx="5274310" cy="233172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6047740" y="3933825"/>
            <a:ext cx="4575810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我们可以看到后台日志在IDEA的控制台打印出如下内容。</a:t>
            </a:r>
          </a:p>
        </p:txBody>
      </p:sp>
      <p:pic>
        <p:nvPicPr>
          <p:cNvPr id="103" name="图片 10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7740" y="4578668"/>
            <a:ext cx="5274310" cy="1420495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69925" y="1067435"/>
            <a:ext cx="10738485" cy="922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从上图的输出可以看出 Tomcat服务器 默认开启了8080端口，要访问这个应用提供的服务，可以在浏览器的地址栏中输入 http://localhost:8080/ ,我们在项目中没有手动的去配置 Tomcat 服务器，是因为Spring Boot 内置了Tomcat服务器。</a:t>
            </a:r>
          </a:p>
        </p:txBody>
      </p:sp>
      <p:sp>
        <p:nvSpPr>
          <p:cNvPr id="3" name="矩形 2"/>
          <p:cNvSpPr/>
          <p:nvPr/>
        </p:nvSpPr>
        <p:spPr>
          <a:xfrm>
            <a:off x="669925" y="1989455"/>
            <a:ext cx="10738485" cy="922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如果要把应用部署到服务器上，还需要对项目进行发布，通过Maven的”mvn package”命令对整个Spring Boot 项目进行项目编译，单元测试和打包，然后运行打包后的jar文件。我们切换到项目所在的目录然后运行”mvn package”命令，如下图所示。</a:t>
            </a:r>
          </a:p>
        </p:txBody>
      </p:sp>
      <p:pic>
        <p:nvPicPr>
          <p:cNvPr id="136" name="图片 1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8418" y="2911158"/>
            <a:ext cx="4980305" cy="2489835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669925" y="1103630"/>
            <a:ext cx="10840085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打包成功后，在工程的target目录中会生成jar文件springbootDemo-0.0.1-SNAPSHOT.jar，如下图所示。</a:t>
            </a:r>
          </a:p>
        </p:txBody>
      </p:sp>
      <p:pic>
        <p:nvPicPr>
          <p:cNvPr id="138" name="图片 13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5" y="1471613"/>
            <a:ext cx="5274310" cy="1848485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669925" y="3479800"/>
            <a:ext cx="10671175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命令行窗口切换到项目的target目录中，运行如下命令就可以启动应用，这样应用就发布成功了。启动的效果如下图所示。</a:t>
            </a:r>
          </a:p>
        </p:txBody>
      </p:sp>
      <p:pic>
        <p:nvPicPr>
          <p:cNvPr id="125" name="图片 1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5" y="4284028"/>
            <a:ext cx="5274310" cy="126047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2021205" y="5544820"/>
            <a:ext cx="2850515" cy="30670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0"/>
            <a:r>
              <a:rPr lang="zh-CN" sz="1400" b="0">
                <a:ea typeface="宋体" panose="02010600030101010101" pitchFamily="2" charset="-122"/>
              </a:rPr>
              <a:t>通过命令行启动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SpringBoot</a:t>
            </a:r>
            <a:r>
              <a:rPr lang="zh-CN" sz="1400" b="0">
                <a:ea typeface="宋体" panose="02010600030101010101" pitchFamily="2" charset="-122"/>
              </a:rPr>
              <a:t>应用</a:t>
            </a:r>
            <a:endParaRPr lang="zh-CN" altLang="en-US" sz="1400" b="0">
              <a:ea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69925" y="1064260"/>
            <a:ext cx="3028950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Spring Boot结合Redis实战</a:t>
            </a:r>
          </a:p>
        </p:txBody>
      </p:sp>
      <p:sp>
        <p:nvSpPr>
          <p:cNvPr id="3" name="矩形 2"/>
          <p:cNvSpPr/>
          <p:nvPr/>
        </p:nvSpPr>
        <p:spPr>
          <a:xfrm>
            <a:off x="669925" y="1432560"/>
            <a:ext cx="9998710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上一节讲了Spring Boot基本框架的搭建，本节讲解Spring Boot结合Redis的基础使用，内容如下。</a:t>
            </a:r>
          </a:p>
        </p:txBody>
      </p:sp>
      <p:sp>
        <p:nvSpPr>
          <p:cNvPr id="6" name="矩形 5"/>
          <p:cNvSpPr/>
          <p:nvPr/>
        </p:nvSpPr>
        <p:spPr>
          <a:xfrm>
            <a:off x="669925" y="1800860"/>
            <a:ext cx="4542155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首先，在Maven项目中引入pom.xml依赖。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9310" y="2169160"/>
            <a:ext cx="5400675" cy="704850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669925" y="2874010"/>
            <a:ext cx="7231380" cy="922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Jedis封装了Spring Boot 与Redis的连接工具。	</a:t>
            </a:r>
          </a:p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其次，编写RedisTemplate类对象，设置redisConnectFactory参数。本案例使用” RedisConfig.java”，内容如下。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210" y="3796030"/>
            <a:ext cx="5438775" cy="3133725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669925" y="1104265"/>
            <a:ext cx="8643620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@Configuration 指明当前类是一个配置类，就是来代替当前的Spring配置文件。</a:t>
            </a:r>
          </a:p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编写控制器类RedisController.java。本案例使用”RedisController.java”，内容如下。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0100" y="1749425"/>
            <a:ext cx="5391150" cy="70485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0100" y="2454275"/>
            <a:ext cx="5429250" cy="2628900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6391275" y="2345055"/>
            <a:ext cx="5247640" cy="21685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@Resource注解默认按照名称进行装配，名称可以通过name属性进行指定，如果没有指定name属性，当注解写在字段上时，默认取字段名按照名称进行查找。在RedisController类中引入一个bean命名为RedisTemplate。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69925" y="1137920"/>
            <a:ext cx="10727690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再次，引入配置文件 application.properties，在springbootDemo\src\main\resources新建配置文件 application.properties内容如下。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5200" y="1783080"/>
            <a:ext cx="2619375" cy="195262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669925" y="3841750"/>
            <a:ext cx="10883900" cy="1198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最后，启动SpringbootDemoApplication.java。访问控制器RedisController对外提供的服务。在浏览器中访问http://127.0.0.1:8080/redis/setAndGet?name=username&amp;value=xinping ，访问这个请求地址后把username作为key，xinping作为value保存在Redis中，并把这个key-value作为结果返回到前台页面，返回的结果是JSON格式的数据，如下所示。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5200" y="5040630"/>
            <a:ext cx="2428875" cy="561975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669925" y="5690870"/>
            <a:ext cx="5135245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浏览器中访问这个请求后的结果如下图所示。</a:t>
            </a:r>
          </a:p>
        </p:txBody>
      </p:sp>
      <p:pic>
        <p:nvPicPr>
          <p:cNvPr id="148" name="图片 14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5" y="6059170"/>
            <a:ext cx="5274310" cy="654050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6317615" y="5276850"/>
            <a:ext cx="5080000" cy="922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从以上结果可以看出username作为key, xinping作为value，已经以key-value（键值存储）的形式存入Redis了。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Template API详解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165860"/>
            <a:ext cx="10738485" cy="34150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Redis有5种不同的数据结构类型，这5种数据结构类型分别为String（字符串）、List（列表）、Set（集合）、Hash（散列）和 Zset（有序集合）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Spring封装了RedisTemplate对象，来进行对5种数据结构操作，它支持所有的Redis原生的API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1  redisTemplate.opsForValue(); 操作字符串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2  redisTemplate.opsForHash(); 操作hash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3  redisTemplate.opsForList();  操作list	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4  redisTemplate.opsForSet();  操作set	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5  redisTemplate.opsForZSet(); 操作有序set	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6723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Template API详解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1078865"/>
            <a:ext cx="10681970" cy="922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编写RedisService类，通过注解的方式调用RedisTemplate类对象，来操作Redis的5种基本数据类型，在RedisService类上面使用了@Service注解用于标注业务层，RedisService类自动注入到Spring容器中。本案例使用”RedisService.java”，内容如下。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9855" y="2028825"/>
            <a:ext cx="5419725" cy="2800350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669925" y="4857115"/>
            <a:ext cx="8743950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然后就可以在RedisService类里添加具体操作Redis的业务逻辑了，对Redis的5种基本数据类型的添加和获取操作进行了封装，在本节将详细介绍。	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6209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推荐教材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4651235" y="1114767"/>
            <a:ext cx="7017023" cy="315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  <a:spcAft>
                <a:spcPts val="600"/>
              </a:spcAft>
            </a:pPr>
            <a:r>
              <a:rPr lang="zh-CN" altLang="en-US" sz="2800" dirty="0" smtClean="0">
                <a:solidFill>
                  <a:srgbClr val="0000FF"/>
                </a:solidFill>
              </a:rPr>
              <a:t>《</a:t>
            </a:r>
            <a:r>
              <a:rPr lang="en-US" altLang="zh-CN" sz="2800" dirty="0" err="1">
                <a:solidFill>
                  <a:srgbClr val="0000FF"/>
                </a:solidFill>
              </a:rPr>
              <a:t>Redis</a:t>
            </a:r>
            <a:r>
              <a:rPr lang="en-US" altLang="zh-CN" sz="2800" dirty="0">
                <a:solidFill>
                  <a:srgbClr val="0000FF"/>
                </a:solidFill>
              </a:rPr>
              <a:t> 6 </a:t>
            </a:r>
            <a:r>
              <a:rPr lang="zh-CN" altLang="en-US" sz="2800" dirty="0">
                <a:solidFill>
                  <a:srgbClr val="0000FF"/>
                </a:solidFill>
              </a:rPr>
              <a:t>开发与</a:t>
            </a:r>
            <a:r>
              <a:rPr lang="zh-CN" altLang="en-US" sz="2800" dirty="0" smtClean="0">
                <a:solidFill>
                  <a:srgbClr val="0000FF"/>
                </a:solidFill>
              </a:rPr>
              <a:t>实战 》</a:t>
            </a:r>
            <a:endParaRPr lang="zh-CN" altLang="en-US" sz="2800" dirty="0">
              <a:solidFill>
                <a:srgbClr val="0000FF"/>
              </a:solidFill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作者</a:t>
            </a:r>
            <a:r>
              <a:rPr lang="zh-CN" altLang="en-US" sz="2400" dirty="0" smtClean="0"/>
              <a:t>：张云河</a:t>
            </a:r>
            <a:r>
              <a:rPr lang="zh-CN" altLang="en-US" sz="2400" dirty="0" smtClean="0">
                <a:sym typeface="+mn-ea"/>
              </a:rPr>
              <a:t>、王硕</a:t>
            </a:r>
            <a:endParaRPr lang="zh-CN" altLang="en-US" sz="2400" dirty="0">
              <a:sym typeface="+mn-ea"/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出版：人民邮电出版社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配套</a:t>
            </a:r>
            <a:r>
              <a:rPr lang="zh-CN" altLang="en-US" sz="2400" dirty="0" smtClean="0">
                <a:sym typeface="+mn-ea"/>
              </a:rPr>
              <a:t>：</a:t>
            </a:r>
            <a:r>
              <a:rPr lang="en-US" altLang="zh-CN" sz="2400" dirty="0" smtClean="0">
                <a:sym typeface="+mn-ea"/>
              </a:rPr>
              <a:t>PPT+</a:t>
            </a:r>
            <a:r>
              <a:rPr lang="zh-CN" altLang="en-US" sz="2400" dirty="0">
                <a:sym typeface="+mn-ea"/>
              </a:rPr>
              <a:t>实验指导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特点</a:t>
            </a:r>
            <a:r>
              <a:rPr lang="zh-CN" altLang="en-US" sz="2400" dirty="0" smtClean="0"/>
              <a:t>：</a:t>
            </a:r>
            <a:r>
              <a:rPr lang="zh-CN" altLang="en-US" sz="2400" dirty="0" smtClean="0">
                <a:solidFill>
                  <a:srgbClr val="FF0000"/>
                </a:solidFill>
              </a:rPr>
              <a:t>覆盖</a:t>
            </a:r>
            <a:r>
              <a:rPr lang="en-US" altLang="zh-CN" sz="2400" dirty="0" err="1" smtClean="0">
                <a:solidFill>
                  <a:srgbClr val="FF0000"/>
                </a:solidFill>
              </a:rPr>
              <a:t>Redis</a:t>
            </a:r>
            <a:r>
              <a:rPr lang="en-US" altLang="zh-CN" sz="2400" dirty="0" smtClean="0">
                <a:solidFill>
                  <a:srgbClr val="FF0000"/>
                </a:solidFill>
              </a:rPr>
              <a:t> 6</a:t>
            </a:r>
            <a:r>
              <a:rPr lang="zh-CN" altLang="en-US" sz="2400" dirty="0" smtClean="0">
                <a:solidFill>
                  <a:srgbClr val="FF0000"/>
                </a:solidFill>
              </a:rPr>
              <a:t>版本的绝大部分核心特性</a:t>
            </a:r>
            <a:r>
              <a:rPr lang="zh-CN" altLang="en-US" sz="2400" dirty="0" smtClean="0"/>
              <a:t>，面向初学者的行文分格，加上大量的辅助图片等</a:t>
            </a:r>
            <a:r>
              <a:rPr lang="zh-CN" altLang="en-US" sz="2400" dirty="0"/>
              <a:t>。</a:t>
            </a:r>
          </a:p>
        </p:txBody>
      </p:sp>
      <p:sp>
        <p:nvSpPr>
          <p:cNvPr id="12" name="任意多边形: 形状 11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1762491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Template API详解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184910"/>
            <a:ext cx="281749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800" dirty="0">
                <a:solidFill>
                  <a:schemeClr val="tx1"/>
                </a:solidFill>
                <a:sym typeface="+mn-ea"/>
              </a:rPr>
              <a:t>写入和读取缓存</a:t>
            </a:r>
          </a:p>
        </p:txBody>
      </p:sp>
      <p:sp>
        <p:nvSpPr>
          <p:cNvPr id="5" name="矩形 4"/>
          <p:cNvSpPr/>
          <p:nvPr/>
        </p:nvSpPr>
        <p:spPr>
          <a:xfrm>
            <a:off x="669925" y="1706880"/>
            <a:ext cx="5438140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RedisService类里封装写入Reids缓存的业务逻辑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340" y="2075180"/>
            <a:ext cx="5419725" cy="164782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7865" y="3723005"/>
            <a:ext cx="5410200" cy="400050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6547485" y="1123315"/>
            <a:ext cx="5192395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其中封装写入Redis缓存设置时效时间的业务逻辑的具体内容如下。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47485" y="1768475"/>
            <a:ext cx="5448300" cy="2171700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6547485" y="3940175"/>
            <a:ext cx="5270500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其中封装批量删除对应的value的业务逻辑的具体内容如下。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47485" y="4512945"/>
            <a:ext cx="5429250" cy="857250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Template API详解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1083945"/>
            <a:ext cx="5618480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其中封装删除对应的value的业务逻辑的具体内容如下。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5" y="1452245"/>
            <a:ext cx="5410200" cy="866775"/>
          </a:xfrm>
          <a:prstGeom prst="rect">
            <a:avLst/>
          </a:prstGeom>
        </p:spPr>
      </p:pic>
      <p:sp>
        <p:nvSpPr>
          <p:cNvPr id="12" name="矩形 11"/>
          <p:cNvSpPr/>
          <p:nvPr/>
        </p:nvSpPr>
        <p:spPr>
          <a:xfrm>
            <a:off x="669925" y="2319020"/>
            <a:ext cx="7108190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其中封装判断缓存中是否有对应的value的业务逻辑的具体内容如下。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5" y="2687320"/>
            <a:ext cx="5438775" cy="561975"/>
          </a:xfrm>
          <a:prstGeom prst="rect">
            <a:avLst/>
          </a:prstGeom>
        </p:spPr>
      </p:pic>
      <p:sp>
        <p:nvSpPr>
          <p:cNvPr id="14" name="矩形 13"/>
          <p:cNvSpPr/>
          <p:nvPr/>
        </p:nvSpPr>
        <p:spPr>
          <a:xfrm>
            <a:off x="669925" y="3249295"/>
            <a:ext cx="5102225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其中封装读取缓存的业务逻辑的具体内容如下。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5" y="3617595"/>
            <a:ext cx="5400675" cy="1200150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Template API详解</a:t>
            </a:r>
          </a:p>
        </p:txBody>
      </p:sp>
      <p:sp>
        <p:nvSpPr>
          <p:cNvPr id="100" name="矩形 99"/>
          <p:cNvSpPr/>
          <p:nvPr/>
        </p:nvSpPr>
        <p:spPr>
          <a:xfrm>
            <a:off x="356235" y="1196340"/>
            <a:ext cx="354520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800" dirty="0">
                <a:solidFill>
                  <a:schemeClr val="tx1"/>
                </a:solidFill>
                <a:sym typeface="+mn-ea"/>
              </a:rPr>
              <a:t>添加和获取哈希数据</a:t>
            </a:r>
          </a:p>
        </p:txBody>
      </p:sp>
      <p:sp>
        <p:nvSpPr>
          <p:cNvPr id="4" name="矩形 3"/>
          <p:cNvSpPr/>
          <p:nvPr/>
        </p:nvSpPr>
        <p:spPr>
          <a:xfrm>
            <a:off x="356235" y="1718310"/>
            <a:ext cx="5394325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RedisService类里封装添加哈希数据的业务逻辑。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340" y="2086610"/>
            <a:ext cx="5429250" cy="85725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434340" y="3312160"/>
            <a:ext cx="5370830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其中封装获取哈希数据的业务逻辑的具体内容如下。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4340" y="3680460"/>
            <a:ext cx="5429250" cy="857250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6256655" y="1196340"/>
            <a:ext cx="354520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800" dirty="0">
                <a:solidFill>
                  <a:schemeClr val="tx1"/>
                </a:solidFill>
                <a:sym typeface="+mn-ea"/>
              </a:rPr>
              <a:t>添加和获取列表数据</a:t>
            </a:r>
          </a:p>
        </p:txBody>
      </p:sp>
      <p:sp>
        <p:nvSpPr>
          <p:cNvPr id="9" name="矩形 8"/>
          <p:cNvSpPr/>
          <p:nvPr/>
        </p:nvSpPr>
        <p:spPr>
          <a:xfrm>
            <a:off x="6256655" y="1718310"/>
            <a:ext cx="5326380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RedisService类里封装添加列表数据的业务逻辑。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6655" y="2162810"/>
            <a:ext cx="5429250" cy="704850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6207125" y="3312160"/>
            <a:ext cx="5528310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其中封装获取列表数据的业务逻辑的具体内容如下。</a:t>
            </a: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06185" y="3680460"/>
            <a:ext cx="5429250" cy="704850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Template API详解</a:t>
            </a:r>
          </a:p>
        </p:txBody>
      </p:sp>
      <p:sp>
        <p:nvSpPr>
          <p:cNvPr id="2" name="矩形 1"/>
          <p:cNvSpPr/>
          <p:nvPr/>
        </p:nvSpPr>
        <p:spPr>
          <a:xfrm>
            <a:off x="440690" y="1083945"/>
            <a:ext cx="347789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800" dirty="0">
                <a:sym typeface="+mn-ea"/>
              </a:rPr>
              <a:t>添加和获取集合数据</a:t>
            </a:r>
          </a:p>
        </p:txBody>
      </p:sp>
      <p:sp>
        <p:nvSpPr>
          <p:cNvPr id="3" name="矩形 2"/>
          <p:cNvSpPr/>
          <p:nvPr/>
        </p:nvSpPr>
        <p:spPr>
          <a:xfrm>
            <a:off x="440690" y="1605915"/>
            <a:ext cx="5326380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RedisService类里封装添加集合数据的业务逻辑。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690" y="1974215"/>
            <a:ext cx="5419725" cy="704850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440690" y="2979420"/>
            <a:ext cx="5247005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其中封装获取集合数据的业务逻辑的具体内容如下。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740" y="3347720"/>
            <a:ext cx="5400675" cy="695325"/>
          </a:xfrm>
          <a:prstGeom prst="rect">
            <a:avLst/>
          </a:prstGeom>
        </p:spPr>
      </p:pic>
      <p:sp>
        <p:nvSpPr>
          <p:cNvPr id="15" name="矩形 14"/>
          <p:cNvSpPr/>
          <p:nvPr/>
        </p:nvSpPr>
        <p:spPr>
          <a:xfrm>
            <a:off x="6649085" y="1083945"/>
            <a:ext cx="410591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800" dirty="0">
                <a:sym typeface="+mn-ea"/>
              </a:rPr>
              <a:t>添加和获取有序集合数据</a:t>
            </a:r>
          </a:p>
        </p:txBody>
      </p:sp>
      <p:sp>
        <p:nvSpPr>
          <p:cNvPr id="17" name="矩形 16"/>
          <p:cNvSpPr/>
          <p:nvPr/>
        </p:nvSpPr>
        <p:spPr>
          <a:xfrm>
            <a:off x="6458585" y="1605915"/>
            <a:ext cx="5181600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RedisService类里封装添加有序集合业务逻辑。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58585" y="1974215"/>
            <a:ext cx="5410200" cy="695325"/>
          </a:xfrm>
          <a:prstGeom prst="rect">
            <a:avLst/>
          </a:prstGeom>
        </p:spPr>
      </p:pic>
      <p:sp>
        <p:nvSpPr>
          <p:cNvPr id="19" name="矩形 18"/>
          <p:cNvSpPr/>
          <p:nvPr/>
        </p:nvSpPr>
        <p:spPr>
          <a:xfrm>
            <a:off x="6372860" y="3037840"/>
            <a:ext cx="5819140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其中封装获取有序集合数据的业务逻辑的具体内容如下。</a:t>
            </a: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58585" y="3406140"/>
            <a:ext cx="5429250" cy="876300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Template API详解</a:t>
            </a:r>
          </a:p>
        </p:txBody>
      </p:sp>
      <p:sp>
        <p:nvSpPr>
          <p:cNvPr id="2" name="矩形 1"/>
          <p:cNvSpPr/>
          <p:nvPr/>
        </p:nvSpPr>
        <p:spPr>
          <a:xfrm>
            <a:off x="440690" y="1083945"/>
            <a:ext cx="206629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800" dirty="0">
                <a:sym typeface="+mn-ea"/>
              </a:rPr>
              <a:t>优化控制器</a:t>
            </a:r>
          </a:p>
        </p:txBody>
      </p:sp>
      <p:sp>
        <p:nvSpPr>
          <p:cNvPr id="100" name="矩形 99"/>
          <p:cNvSpPr/>
          <p:nvPr/>
        </p:nvSpPr>
        <p:spPr>
          <a:xfrm>
            <a:off x="440690" y="1605915"/>
            <a:ext cx="4473575" cy="922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封装好RedisService业务类后就可以对控制器RedisController进行优化了，如下所示。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2515" y="2371725"/>
            <a:ext cx="3498215" cy="428498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5407660" y="1172845"/>
            <a:ext cx="5561330" cy="1198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然后启动SpringbootDemoApplication.java应用类，通过service.get()方法获得Redis缓存中的数据，访问</a:t>
            </a:r>
            <a:r>
              <a:rPr lang="en-US" altLang="zh-CN" dirty="0">
                <a:solidFill>
                  <a:srgbClr val="002060"/>
                </a:solidFill>
                <a:sym typeface="+mn-ea"/>
                <a:hlinkClick r:id="rId3"/>
              </a:rPr>
              <a:t>http://127.0.0.1:8080/redis/setAndGet2?name=db&amp;value=redis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 ，返回消息为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31205" y="2371725"/>
            <a:ext cx="1762125" cy="552450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5831205" y="3022600"/>
            <a:ext cx="1358265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如下图所示</a:t>
            </a:r>
          </a:p>
        </p:txBody>
      </p:sp>
      <p:pic>
        <p:nvPicPr>
          <p:cNvPr id="11293" name="图片 1129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39435" y="3489325"/>
            <a:ext cx="5097780" cy="609600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5407660" y="4789170"/>
            <a:ext cx="5080000" cy="922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本节使用RedisService类使用RedisTemplate API操作5种基本数据类型，对5种基本数据类型的操作进行了封装。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8.3Spring Boot集成 Spring Session</a:t>
            </a:r>
          </a:p>
        </p:txBody>
      </p:sp>
      <p:sp>
        <p:nvSpPr>
          <p:cNvPr id="100" name="矩形 99"/>
          <p:cNvSpPr/>
          <p:nvPr/>
        </p:nvSpPr>
        <p:spPr>
          <a:xfrm>
            <a:off x="473710" y="1079500"/>
            <a:ext cx="11040110" cy="21685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传统Session的问题，在于Session是由Web容器管理的，即一个session只保存在一台机器上，适合于单体应用，随着架构的演练，不断的向微服务分布式集群演进，传统的Session在集群环境下就不能正常工作了。比如：现在有3台Web服务器，客户端访问服务器通过负载均衡Nginx负载到某一台服务器上，用户此次的数据就保存到这台服务器的Web容器中了，当用户下次请求如果被负载到其它机器上，那么就拿不到之前保存的数据了。</a:t>
            </a:r>
          </a:p>
        </p:txBody>
      </p:sp>
      <p:sp>
        <p:nvSpPr>
          <p:cNvPr id="5" name="矩形 4"/>
          <p:cNvSpPr/>
          <p:nvPr/>
        </p:nvSpPr>
        <p:spPr>
          <a:xfrm>
            <a:off x="473710" y="3427730"/>
            <a:ext cx="11039475" cy="1753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这时候就需要整个服务器集群共享同一个Session。为了解决所有服务器共享一套Session，那么Session就不能单独保存在自己的Web容器中，而是保存在一个公共的会话仓库(Session Repository)中，所有服务器都访问同一个仓库，这样所有服务器的状态都一致了。Spring Session支持的仓库有Reids、MongoDB、JDBC，本章例子使用Redis作为Spring Session的仓库。</a:t>
            </a: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8.3Spring Boot集成 Spring Session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1134110"/>
            <a:ext cx="10671175" cy="29997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Spring Session有以下优点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1  Spring Session是基于servlet规范实现的一套Session管理框架。Spring Session主要解决了分布式场景下Session的共享问题。Spring Session最核心的类是SessionRepositoryFilter过滤器，用于包装用户的请求和响应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2  可在程序中直接替换掉HttpSession，而无需修改一行代码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3  可以很方便的与Spring Security集成，增加诸如findSessionsByUserName，rememberMe，限制同一个账号可以同时在线的Session数（如设置成1，即可达到把前一次登录顶掉的效果）等等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8.3Spring Boot集成 Spring Session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1134110"/>
            <a:ext cx="2603500" cy="553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2000" dirty="0">
                <a:solidFill>
                  <a:srgbClr val="002060"/>
                </a:solidFill>
                <a:sym typeface="+mn-ea"/>
              </a:rPr>
              <a:t>配置Spring Boot项目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619250"/>
            <a:ext cx="10144125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https://start.spring.io/中创建一个Spring Boot项目SpringSessionDemo，使用IDEA导入项目。本案例文件名为”Redis\Chapter08\SpringSessionDemo”，内容如下。</a:t>
            </a:r>
          </a:p>
        </p:txBody>
      </p:sp>
      <p:sp>
        <p:nvSpPr>
          <p:cNvPr id="3" name="矩形 2"/>
          <p:cNvSpPr/>
          <p:nvPr/>
        </p:nvSpPr>
        <p:spPr>
          <a:xfrm>
            <a:off x="669925" y="2272030"/>
            <a:ext cx="5864225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然后在Maven项目的pom.xml文件里引入必要的依赖包。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3270" y="2717165"/>
            <a:ext cx="5419725" cy="3105150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8.3Spring Boot集成 Spring Session</a:t>
            </a:r>
          </a:p>
        </p:txBody>
      </p:sp>
      <p:sp>
        <p:nvSpPr>
          <p:cNvPr id="5" name="矩形 4"/>
          <p:cNvSpPr/>
          <p:nvPr/>
        </p:nvSpPr>
        <p:spPr>
          <a:xfrm>
            <a:off x="669925" y="1129030"/>
            <a:ext cx="6560185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新建Spring Boot的配置文件application.properties，内容如下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6320" y="1609090"/>
            <a:ext cx="2857500" cy="1600200"/>
          </a:xfrm>
          <a:prstGeom prst="rect">
            <a:avLst/>
          </a:prstGeom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8.3Spring Boot集成 Spring Session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1078230"/>
            <a:ext cx="2603500" cy="553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2000" dirty="0">
                <a:solidFill>
                  <a:srgbClr val="002060"/>
                </a:solidFill>
                <a:sym typeface="+mn-ea"/>
              </a:rPr>
              <a:t>创建配置类和控制器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631315"/>
            <a:ext cx="10671810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新建配置类RedisHttpSessionConfiguration.java ，本案例使用” RedisHttpSessionConfiguration.java”，内容如下。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0255" y="2327275"/>
            <a:ext cx="5429250" cy="2181225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770255" y="4559300"/>
            <a:ext cx="10648950" cy="922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配置类RedisSessionConfig使用@Configuration注解表明这是一个配置类。在这个类也添加注解</a:t>
            </a:r>
            <a:r>
              <a:rPr lang="en-US" altLang="zh-CN" dirty="0">
                <a:solidFill>
                  <a:srgbClr val="0000FF"/>
                </a:solidFill>
                <a:sym typeface="+mn-ea"/>
              </a:rPr>
              <a:t>@EnableRedisHttpSession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，表示开启Redis的Session管理。如果需要设置会话失效时间可以使用</a:t>
            </a:r>
            <a:r>
              <a:rPr lang="en-US" altLang="zh-CN" dirty="0">
                <a:solidFill>
                  <a:srgbClr val="0000FF"/>
                </a:solidFill>
                <a:sym typeface="+mn-ea"/>
              </a:rPr>
              <a:t>@EnableRedisHttpSession(maxInactiveIntervalInSeconds = 60)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表示在60秒后会话失效。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 fontScale="90000"/>
          </a:bodyPr>
          <a:lstStyle/>
          <a:p>
            <a:r>
              <a:rPr lang="en-US" altLang="zh-CN" sz="4800" dirty="0"/>
              <a:t/>
            </a:r>
            <a:br>
              <a:rPr lang="en-US" altLang="zh-CN" sz="4800" dirty="0"/>
            </a:br>
            <a:r>
              <a:rPr sz="4800">
                <a:sym typeface="+mn-ea"/>
              </a:rPr>
              <a:t>第</a:t>
            </a:r>
            <a:r>
              <a:rPr lang="zh-CN" sz="4800">
                <a:sym typeface="+mn-ea"/>
              </a:rPr>
              <a:t>七</a:t>
            </a:r>
            <a:r>
              <a:rPr sz="4800">
                <a:sym typeface="+mn-ea"/>
              </a:rPr>
              <a:t>章 </a:t>
            </a:r>
            <a:br>
              <a:rPr sz="4800">
                <a:sym typeface="+mn-ea"/>
              </a:rPr>
            </a:br>
            <a:r>
              <a:rPr sz="4800" smtClean="0">
                <a:latin typeface="微软雅黑 (正文)"/>
                <a:sym typeface="+mn-ea"/>
              </a:rPr>
              <a:t>Spring Boot</a:t>
            </a:r>
            <a:br>
              <a:rPr sz="4800" smtClean="0">
                <a:latin typeface="微软雅黑 (正文)"/>
                <a:sym typeface="+mn-ea"/>
              </a:rPr>
            </a:br>
            <a:r>
              <a:rPr sz="4800" smtClean="0">
                <a:latin typeface="微软雅黑 (正文)"/>
                <a:sym typeface="+mn-ea"/>
              </a:rPr>
              <a:t>与Redis整合与应用</a:t>
            </a:r>
            <a:r>
              <a:rPr lang="zh-CN" altLang="en-US" sz="4800" b="0" dirty="0" smtClean="0">
                <a:solidFill>
                  <a:srgbClr val="000000"/>
                </a:solidFill>
                <a:latin typeface="微软雅黑 (正文)"/>
                <a:ea typeface="华文楷体" panose="02010600040101010101" charset="-122"/>
                <a:cs typeface="华文楷体" panose="02010600040101010101" charset="-122"/>
              </a:rPr>
              <a:t/>
            </a:r>
            <a:br>
              <a:rPr lang="zh-CN" altLang="en-US" sz="4800" b="0" dirty="0" smtClean="0">
                <a:solidFill>
                  <a:srgbClr val="000000"/>
                </a:solidFill>
                <a:latin typeface="微软雅黑 (正文)"/>
                <a:ea typeface="华文楷体" panose="02010600040101010101" charset="-122"/>
                <a:cs typeface="华文楷体" panose="02010600040101010101" charset="-122"/>
              </a:rPr>
            </a:br>
            <a:endParaRPr sz="4800">
              <a:sym typeface="+mn-ea"/>
            </a:endParaRPr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1328773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开发与实战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17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r>
              <a:rPr lang="zh-CN" altLang="en-US" b="1" dirty="0" smtClean="0">
                <a:solidFill>
                  <a:schemeClr val="tx1"/>
                </a:solidFill>
              </a:rPr>
              <a:t>        </a:t>
            </a:r>
            <a:r>
              <a:rPr lang="zh-CN" altLang="en-US" b="1" dirty="0">
                <a:solidFill>
                  <a:schemeClr val="tx1"/>
                </a:solidFill>
              </a:rPr>
              <a:t>主审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3044" y="799845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8.3Spring Boot集成 Spring Session</a:t>
            </a:r>
          </a:p>
        </p:txBody>
      </p:sp>
      <p:sp>
        <p:nvSpPr>
          <p:cNvPr id="5" name="矩形 4"/>
          <p:cNvSpPr/>
          <p:nvPr/>
        </p:nvSpPr>
        <p:spPr>
          <a:xfrm>
            <a:off x="669925" y="1103630"/>
            <a:ext cx="11041380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新建用户类User.java，用户类只有两个属性username和password，保存登录的用户的用户名和密码。本案例使用”User.java”，内容如下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6770" y="1748790"/>
            <a:ext cx="4473575" cy="4301490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5975350" y="1748790"/>
            <a:ext cx="5736590" cy="1753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新建控制器类SessionController.java，在这个类中定义了2个方法，login方法用于登录验证，当输入username等于”xinping”，password等于”123”，认为用户登录成功，在session中保存用户信息。get方法用于从session中获取用户信息。本案例使用”SessionController.java”，内容如下。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3005" y="3570605"/>
            <a:ext cx="5448300" cy="180022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6858000" y="5439410"/>
            <a:ext cx="1554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/>
              <a:t>接下一页</a:t>
            </a:r>
            <a:r>
              <a:rPr lang="en-US" altLang="zh-CN"/>
              <a:t>……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8.3Spring Boot集成 Spring Session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5" y="1895475"/>
            <a:ext cx="5429250" cy="382905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5070" y="2305050"/>
            <a:ext cx="5400675" cy="300990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807085" y="1259840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/>
              <a:t>接上一页</a:t>
            </a:r>
            <a:endParaRPr lang="en-US" altLang="zh-CN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8.3Spring Boot集成 Spring Session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97915"/>
            <a:ext cx="2021205" cy="553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2000" dirty="0">
                <a:solidFill>
                  <a:srgbClr val="002060"/>
                </a:solidFill>
                <a:sym typeface="+mn-ea"/>
              </a:rPr>
              <a:t>编译和部署项目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1651000"/>
            <a:ext cx="7310120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启动项目，运行SpringSessionDemoApplication.java。进入到SpringSessionDemo项目所在目录。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3905" y="2296160"/>
            <a:ext cx="4029075" cy="20002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669925" y="2596515"/>
            <a:ext cx="7891780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使用Maven的”mvn clean package”命令将SpringSessionDemo项目打成jar包。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3905" y="3005455"/>
            <a:ext cx="4610100" cy="219075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669925" y="3265170"/>
            <a:ext cx="8262620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在SpringSessionDemo\target目录下获得编译好的压缩包 SpringSessionDemo-0.0.1-SNAPSHOT.jar，如下图所示。</a:t>
            </a:r>
          </a:p>
        </p:txBody>
      </p:sp>
      <p:pic>
        <p:nvPicPr>
          <p:cNvPr id="263" name="图片 26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3905" y="3933825"/>
            <a:ext cx="5274310" cy="1699260"/>
          </a:xfrm>
          <a:prstGeom prst="rect">
            <a:avLst/>
          </a:prstGeom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8.3Spring Boot集成 Spring Session</a:t>
            </a:r>
          </a:p>
        </p:txBody>
      </p:sp>
      <p:sp>
        <p:nvSpPr>
          <p:cNvPr id="3" name="矩形 2"/>
          <p:cNvSpPr/>
          <p:nvPr/>
        </p:nvSpPr>
        <p:spPr>
          <a:xfrm>
            <a:off x="669925" y="1047750"/>
            <a:ext cx="10525760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使用以下命令分别以两个不同的端口(8081和8082)启动两个项目, 用于模拟分布式应用中的两个服务。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4245" y="1416050"/>
            <a:ext cx="4924425" cy="371475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798830" y="1863090"/>
            <a:ext cx="2693035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启动项目，如下图所示。</a:t>
            </a:r>
          </a:p>
        </p:txBody>
      </p:sp>
      <p:pic>
        <p:nvPicPr>
          <p:cNvPr id="264" name="图片 26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4245" y="2231073"/>
            <a:ext cx="5234940" cy="277939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672590" y="5084445"/>
            <a:ext cx="3007995" cy="30670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0"/>
            <a:r>
              <a:rPr lang="zh-CN" sz="1400" b="0">
                <a:ea typeface="宋体" panose="02010600030101010101" pitchFamily="2" charset="-122"/>
              </a:rPr>
              <a:t>以两个端口分别启动</a:t>
            </a:r>
            <a:r>
              <a:rPr lang="en-US" sz="1400" b="0">
                <a:latin typeface="Calibri" panose="020F0502020204030204" charset="0"/>
                <a:ea typeface="宋体" panose="02010600030101010101" pitchFamily="2" charset="-122"/>
              </a:rPr>
              <a:t>Spring Boot</a:t>
            </a:r>
            <a:r>
              <a:rPr lang="zh-CN" sz="1400" b="0">
                <a:ea typeface="宋体" panose="02010600030101010101" pitchFamily="2" charset="-122"/>
              </a:rPr>
              <a:t>项目</a:t>
            </a:r>
            <a:endParaRPr lang="zh-CN" altLang="en-US" sz="1400" b="0">
              <a:ea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集成 Spring Session</a:t>
            </a:r>
          </a:p>
        </p:txBody>
      </p:sp>
      <p:sp>
        <p:nvSpPr>
          <p:cNvPr id="100" name="矩形 99"/>
          <p:cNvSpPr/>
          <p:nvPr/>
        </p:nvSpPr>
        <p:spPr>
          <a:xfrm>
            <a:off x="669925" y="1077595"/>
            <a:ext cx="10401935" cy="922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00FF"/>
                </a:solidFill>
                <a:sym typeface="+mn-ea"/>
              </a:rPr>
              <a:t>    第一步：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访问地址 http://127.0.0.1:8081/session/login?username=xinping&amp;password=123 </a:t>
            </a:r>
          </a:p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第一次访问URL地址端口为8081的SpringBoot项目时模拟用户登录，在浏览器中访问这个请求后的结果如下图所示。</a:t>
            </a:r>
          </a:p>
        </p:txBody>
      </p:sp>
      <p:pic>
        <p:nvPicPr>
          <p:cNvPr id="18" name="图片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85085" y="1727835"/>
            <a:ext cx="5274310" cy="626110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747395" y="2414270"/>
            <a:ext cx="10325100" cy="922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访问Redis可以看出有一个key为“spring:session:sessions:ddf10226-8ffe-4294-ab93-7a461535f8ed”，这个key包含了页面中显示的sessionId值，说明session已经成功保存到了Redis中，如下图所示。</a:t>
            </a:r>
          </a:p>
        </p:txBody>
      </p:sp>
      <p:pic>
        <p:nvPicPr>
          <p:cNvPr id="228" name="图片 2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1890" y="3115945"/>
            <a:ext cx="5274310" cy="62611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746760" y="3880485"/>
            <a:ext cx="10325100" cy="922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00FF"/>
                </a:solidFill>
                <a:sym typeface="+mn-ea"/>
              </a:rPr>
              <a:t>    第二步：</a:t>
            </a:r>
            <a:r>
              <a:rPr lang="en-US" altLang="zh-CN" dirty="0">
                <a:solidFill>
                  <a:srgbClr val="002060"/>
                </a:solidFill>
                <a:sym typeface="+mn-ea"/>
              </a:rPr>
              <a:t>访问地址http://127.0.0.1:8082/session/get?username=xinping</a:t>
            </a:r>
          </a:p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第二次访问URL地址端口为8082的SpringBoot项目时模用于获取登录的用户信息，在浏览器中访问这个请求后的结果如下图所示。</a:t>
            </a:r>
          </a:p>
        </p:txBody>
      </p:sp>
      <p:pic>
        <p:nvPicPr>
          <p:cNvPr id="156" name="图片 1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2705" y="4612005"/>
            <a:ext cx="5274310" cy="54991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844550" y="5149850"/>
            <a:ext cx="10227945" cy="1198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chemeClr val="tx1"/>
                </a:solidFill>
                <a:sym typeface="+mn-ea"/>
              </a:rPr>
              <a:t>    可以看出成功获得了保存在Redis中的用户名为xinping的用户信息，并且两次请求的sessionId是相同的，实现了session的共享。</a:t>
            </a:r>
          </a:p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chemeClr val="tx1"/>
                </a:solidFill>
                <a:sym typeface="+mn-ea"/>
              </a:rPr>
              <a:t>    通过SpringBoot使用 Redis来实现session的共享很方便，在配合Nginx进行负载均衡，便能实现分布式的应用了。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895761" y="2739021"/>
            <a:ext cx="6536871" cy="2390427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学 习 进 步 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: 圆角 13"/>
          <p:cNvSpPr/>
          <p:nvPr/>
        </p:nvSpPr>
        <p:spPr>
          <a:xfrm>
            <a:off x="744076" y="6241020"/>
            <a:ext cx="4366476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作者</a:t>
            </a:r>
            <a:r>
              <a:rPr lang="zh-CN" altLang="en-US" b="1" dirty="0" smtClean="0">
                <a:solidFill>
                  <a:schemeClr val="tx1"/>
                </a:solidFill>
              </a:rPr>
              <a:t>：张云河、王硕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905580" y="602297"/>
            <a:ext cx="5373587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大数据教材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《</a:t>
            </a:r>
            <a:r>
              <a:rPr lang="en-US" altLang="zh-CN" sz="2200" dirty="0" err="1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开发与实战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》</a:t>
            </a:r>
            <a:r>
              <a:rPr lang="zh-CN" altLang="en-US" sz="2200" b="1" dirty="0" smtClean="0">
                <a:solidFill>
                  <a:schemeClr val="accent2"/>
                </a:solidFill>
                <a:sym typeface="+mn-ea"/>
              </a:rPr>
              <a:t>最新版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6400" y="522760"/>
            <a:ext cx="527050" cy="52705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2240" y="1211016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874075" y="252740"/>
            <a:ext cx="351891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chemeClr val="bg1"/>
                </a:solidFill>
              </a:rPr>
              <a:t>第</a:t>
            </a:r>
            <a:r>
              <a:rPr lang="en-US" altLang="zh-CN" sz="2800" b="1" dirty="0" smtClean="0">
                <a:solidFill>
                  <a:schemeClr val="bg1"/>
                </a:solidFill>
              </a:rPr>
              <a:t>5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章</a:t>
            </a:r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的持久化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</p:nvPr>
        </p:nvGraphicFramePr>
        <p:xfrm>
          <a:off x="462431" y="1634204"/>
          <a:ext cx="4173963" cy="474255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105"/>
                <a:gridCol w="2952858"/>
              </a:tblGrid>
              <a:tr h="375974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微软雅黑 (正文)"/>
                        </a:rPr>
                        <a:t>第1章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b="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初始</a:t>
                      </a:r>
                      <a:r>
                        <a:rPr lang="en-US" altLang="zh-CN" sz="2000" b="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 第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2章</a:t>
                      </a:r>
                      <a:endParaRPr lang="en-US" altLang="en-US" sz="2000" kern="1200" dirty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0" kern="120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  <a:r>
                        <a:rPr lang="zh-CN" alt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常用数据类型</a:t>
                      </a: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常用命令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高级主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 第</a:t>
                      </a:r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5章</a:t>
                      </a:r>
                      <a:endParaRPr lang="en-US" altLang="en-US" sz="2000" b="0" kern="1200" dirty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0" kern="120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  <a:r>
                        <a:rPr lang="zh-CN" alt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缓存的持久化</a:t>
                      </a: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集群环境部署</a:t>
                      </a:r>
                      <a:endParaRPr lang="zh-CN" altLang="en-US" sz="2000" b="0" dirty="0" smtClean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开发与实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</a:tr>
              <a:tr h="573824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smtClean="0">
                          <a:latin typeface="微软雅黑 (正文)"/>
                        </a:rPr>
                        <a:t>Spring Boot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与</a:t>
                      </a: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整合应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监控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10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的缓存设计与优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751395">
                <a:tc gridSpan="2"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8738" marR="98738" marT="0" marB="0" anchor="ctr"/>
                </a:tc>
              </a:tr>
            </a:tbl>
          </a:graphicData>
        </a:graphic>
      </p:graphicFrame>
      <p:sp>
        <p:nvSpPr>
          <p:cNvPr id="8" name="任意多边形: 形状 7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3" name="矩形 2"/>
          <p:cNvSpPr/>
          <p:nvPr/>
        </p:nvSpPr>
        <p:spPr>
          <a:xfrm>
            <a:off x="6735445" y="1991995"/>
            <a:ext cx="4810760" cy="1198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1755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zh-CN" altLang="en-US" sz="3600" dirty="0" smtClean="0">
                <a:solidFill>
                  <a:srgbClr val="000000"/>
                </a:solidFill>
              </a:rPr>
              <a:t>第</a:t>
            </a:r>
            <a:r>
              <a:rPr lang="en-US" altLang="zh-CN" sz="3600" dirty="0" smtClean="0">
                <a:solidFill>
                  <a:srgbClr val="000000"/>
                </a:solidFill>
              </a:rPr>
              <a:t>8</a:t>
            </a:r>
            <a:r>
              <a:rPr lang="zh-CN" altLang="en-US" sz="3600" dirty="0" smtClean="0">
                <a:solidFill>
                  <a:srgbClr val="000000"/>
                </a:solidFill>
              </a:rPr>
              <a:t>章 </a:t>
            </a:r>
            <a:r>
              <a:rPr lang="en-US" altLang="zh-CN" sz="3600" dirty="0" smtClean="0">
                <a:latin typeface="微软雅黑 (正文)"/>
                <a:sym typeface="+mn-ea"/>
              </a:rPr>
              <a:t>Spring Boot</a:t>
            </a:r>
            <a:r>
              <a:rPr lang="zh-CN" altLang="en-US" sz="3600" dirty="0" smtClean="0">
                <a:latin typeface="微软雅黑 (正文)"/>
                <a:sym typeface="+mn-ea"/>
              </a:rPr>
              <a:t>与</a:t>
            </a:r>
            <a:r>
              <a:rPr lang="en-US" altLang="zh-CN" sz="3600" dirty="0" err="1" smtClean="0">
                <a:latin typeface="微软雅黑 (正文)"/>
                <a:sym typeface="+mn-ea"/>
              </a:rPr>
              <a:t>Redis</a:t>
            </a:r>
            <a:r>
              <a:rPr lang="zh-CN" altLang="en-US" sz="3600" dirty="0" smtClean="0">
                <a:latin typeface="微软雅黑 (正文)"/>
                <a:sym typeface="+mn-ea"/>
              </a:rPr>
              <a:t>整合应用</a:t>
            </a:r>
            <a:endParaRPr lang="zh-CN" altLang="en-US" sz="3600" dirty="0" smtClean="0">
              <a:solidFill>
                <a:srgbClr val="000000"/>
              </a:solidFill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***    </a:t>
            </a:r>
            <a:r>
              <a:rPr lang="zh-CN" altLang="en-US" sz="2400" dirty="0">
                <a:solidFill>
                  <a:srgbClr val="002060"/>
                </a:solidFill>
              </a:rPr>
              <a:t>主审： ***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556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2649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41048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696720" y="1564640"/>
            <a:ext cx="4527550" cy="8299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dirty="0">
                <a:solidFill>
                  <a:srgbClr val="002060"/>
                </a:solidFill>
                <a:sym typeface="+mn-ea"/>
              </a:rPr>
              <a:t>Spring Boot 项目搭建与Redis结合与应用</a:t>
            </a:r>
          </a:p>
        </p:txBody>
      </p:sp>
      <p:sp>
        <p:nvSpPr>
          <p:cNvPr id="2" name="矩形 1"/>
          <p:cNvSpPr/>
          <p:nvPr/>
        </p:nvSpPr>
        <p:spPr>
          <a:xfrm>
            <a:off x="1696720" y="2959735"/>
            <a:ext cx="402590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dirty="0">
                <a:solidFill>
                  <a:srgbClr val="002060"/>
                </a:solidFill>
                <a:sym typeface="+mn-ea"/>
              </a:rPr>
              <a:t>RedisTemplate API详解</a:t>
            </a:r>
          </a:p>
        </p:txBody>
      </p:sp>
      <p:sp>
        <p:nvSpPr>
          <p:cNvPr id="7" name="矩形 6"/>
          <p:cNvSpPr/>
          <p:nvPr/>
        </p:nvSpPr>
        <p:spPr>
          <a:xfrm>
            <a:off x="1696720" y="4443095"/>
            <a:ext cx="4025265" cy="8299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dirty="0">
                <a:solidFill>
                  <a:srgbClr val="002060"/>
                </a:solidFill>
                <a:sym typeface="+mn-ea"/>
              </a:rPr>
              <a:t>Spring Boot集成 Spring Session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669925" y="1098550"/>
            <a:ext cx="57384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dirty="0">
                <a:solidFill>
                  <a:srgbClr val="002060"/>
                </a:solidFill>
                <a:sym typeface="+mn-ea"/>
              </a:rPr>
              <a:t>Spring Boot 项目搭建与Redis结合与应用</a:t>
            </a:r>
          </a:p>
        </p:txBody>
      </p:sp>
      <p:sp>
        <p:nvSpPr>
          <p:cNvPr id="7" name="矩形 6"/>
          <p:cNvSpPr/>
          <p:nvPr/>
        </p:nvSpPr>
        <p:spPr>
          <a:xfrm>
            <a:off x="669925" y="1558925"/>
            <a:ext cx="1967865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dirty="0">
                <a:solidFill>
                  <a:srgbClr val="002060"/>
                </a:solidFill>
                <a:sym typeface="+mn-ea"/>
              </a:rPr>
              <a:t>Spring Boot 简介</a:t>
            </a:r>
          </a:p>
        </p:txBody>
      </p:sp>
      <p:sp>
        <p:nvSpPr>
          <p:cNvPr id="8" name="矩形 7"/>
          <p:cNvSpPr/>
          <p:nvPr/>
        </p:nvSpPr>
        <p:spPr>
          <a:xfrm>
            <a:off x="669925" y="1927225"/>
            <a:ext cx="10763885" cy="1198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    </a:t>
            </a:r>
            <a:r>
              <a:rPr lang="zh-CN" altLang="en-US" sz="1600" dirty="0">
                <a:solidFill>
                  <a:srgbClr val="002060"/>
                </a:solidFill>
                <a:sym typeface="+mn-ea"/>
              </a:rPr>
              <a:t>微服务是一种架构风格，是一种使用一套微小服务来开发单个应用的方式途径，每个服务运行在自己的进程中，通过轻量的通讯机制联系，经常是基于HTTP资源API，这些服务基于业务能力构建，能够通过自动化部署方式独立部署。微服务，简单的说就是将一个大服务（项目）划分为多个子（服务）项目，如下图所示。</a:t>
            </a:r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>
          <a:xfrm>
            <a:off x="3528060" y="3126105"/>
            <a:ext cx="3752850" cy="172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矩形 8"/>
          <p:cNvSpPr/>
          <p:nvPr/>
        </p:nvSpPr>
        <p:spPr>
          <a:xfrm>
            <a:off x="669925" y="4920615"/>
            <a:ext cx="10763885" cy="1198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    从上图可以看出微服务的好处，每个微服务组件都是简单灵活的，能够独立部署。微服务应用不需要一个庞大的应用服务器来支撑。微服务之间是松耦合的，内部是高内聚的，每个微服务很容易按需扩展。微服务架构与语言工具无关，可以自由选择合适的语言和工具，高效的完成业务目标。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54050" y="1858645"/>
            <a:ext cx="10883900" cy="1198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    Spring Boot是 Spring 的一套快速配置脚手架，可以基于Spring Boot快速开发单个微服务，Spirng Boot 本身并不提供 Spring 框架的核心特性以及扩展功能，只是用于快速、敏捷地开发新一代基于 Spring 框架的应用程序，如下图所示。也就是说，它并不是用来替代 Spring 的解决方案，而是和 Spring 框架紧密结合用于提升 Spring 开发者体验的工具。</a:t>
            </a:r>
          </a:p>
        </p:txBody>
      </p:sp>
      <p:sp>
        <p:nvSpPr>
          <p:cNvPr id="3" name="矩形 2"/>
          <p:cNvSpPr/>
          <p:nvPr/>
        </p:nvSpPr>
        <p:spPr>
          <a:xfrm>
            <a:off x="669925" y="3641090"/>
            <a:ext cx="10883900" cy="15684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    Spring Boot在开发过程中大量使用“约定优先配置”的思想来摆脱Spring框架中各类繁复纷杂的配置。采用 Spring Boot 可以大大的简化开发模式，同时它集成了大量常用的第三方库配置（例如 Redis、MongoDB、Jpa、RabbitMQ、Quartz 等等），Spring Boot 应用中这些第三方库几乎可以零配置的开箱即用，大部分的 Spring Boot 应用都只需要非常少量的配置代码，开发者能够更加专注于业务逻辑。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pic>
        <p:nvPicPr>
          <p:cNvPr id="88" name="图片 8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9235" y="2236470"/>
            <a:ext cx="2133600" cy="2385060"/>
          </a:xfrm>
          <a:prstGeom prst="rect">
            <a:avLst/>
          </a:prstGeom>
        </p:spPr>
      </p:pic>
      <p:sp>
        <p:nvSpPr>
          <p:cNvPr id="100" name="矩形 99"/>
          <p:cNvSpPr/>
          <p:nvPr/>
        </p:nvSpPr>
        <p:spPr>
          <a:xfrm>
            <a:off x="4027170" y="2236470"/>
            <a:ext cx="7220585" cy="23069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     Spring Boot不等于微服务，它只是一套开源框架，跟SSM（Spring+Struts2+MyBatis）差不多，只是基于Spring Boot来开发微服务相当方便，所以这两个词一般都是成对出现的。当我们的服务越来越多时，就可以通过Spring Cloud来统一管理这些服务了，Spring Cloud才算是真正的微服务框架，Spring Boot是J2EE一站式解决方案。使用SpringBoot可以提供微服务开发小型的web项目。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Spring Boot 项目搭建与Redis结合与应用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669925" y="1200785"/>
            <a:ext cx="3109595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dirty="0">
                <a:solidFill>
                  <a:srgbClr val="002060"/>
                </a:solidFill>
                <a:sym typeface="+mn-ea"/>
              </a:rPr>
              <a:t>使用Spring Initalizr新建项目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1569085"/>
            <a:ext cx="8620760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dirty="0">
                <a:solidFill>
                  <a:srgbClr val="002060"/>
                </a:solidFill>
                <a:sym typeface="+mn-ea"/>
              </a:rPr>
              <a:t>本节介绍在Windows下使用Spring Boot,  Spring Boot 依赖的开发环境如表所示。</a:t>
            </a:r>
          </a:p>
        </p:txBody>
      </p:sp>
      <p:graphicFrame>
        <p:nvGraphicFramePr>
          <p:cNvPr id="3" name="表格 2"/>
          <p:cNvGraphicFramePr/>
          <p:nvPr>
            <p:custDataLst>
              <p:tags r:id="rId1"/>
            </p:custDataLst>
          </p:nvPr>
        </p:nvGraphicFramePr>
        <p:xfrm>
          <a:off x="795338" y="1937385"/>
          <a:ext cx="0" cy="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33663"/>
                <a:gridCol w="2633662"/>
              </a:tblGrid>
              <a:tr h="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操作系统</a:t>
                      </a:r>
                      <a:endParaRPr lang="en-US" altLang="en-US" sz="18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W</a:t>
                      </a:r>
                      <a:r>
                        <a:rPr lang="en-US" sz="1800" b="0">
                          <a:latin typeface="Calibri" panose="020F0502020204030204" charset="0"/>
                          <a:cs typeface="Calibri" panose="020F0502020204030204" charset="0"/>
                        </a:rPr>
                        <a:t>indows 10 64</a:t>
                      </a: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位平台</a:t>
                      </a:r>
                      <a:endParaRPr lang="en-US" altLang="en-US" sz="18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JDK</a:t>
                      </a:r>
                      <a:endParaRPr lang="en-US" altLang="en-US" sz="18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</a:t>
                      </a:r>
                      <a:r>
                        <a:rPr lang="en-US" sz="1800" b="0">
                          <a:latin typeface="Calibri" panose="020F0502020204030204" charset="0"/>
                          <a:cs typeface="Calibri" panose="020F0502020204030204" charset="0"/>
                        </a:rPr>
                        <a:t>.8</a:t>
                      </a:r>
                      <a:endParaRPr lang="en-US" altLang="en-US" sz="18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M</a:t>
                      </a:r>
                      <a:r>
                        <a:rPr lang="en-US" sz="1800" b="0">
                          <a:latin typeface="Calibri" panose="020F0502020204030204" charset="0"/>
                          <a:cs typeface="Calibri" panose="020F0502020204030204" charset="0"/>
                        </a:rPr>
                        <a:t>aven</a:t>
                      </a:r>
                      <a:endParaRPr lang="en-US" altLang="en-US" sz="18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3</a:t>
                      </a:r>
                      <a:r>
                        <a:rPr lang="en-US" sz="1800" b="0">
                          <a:latin typeface="Calibri" panose="020F0502020204030204" charset="0"/>
                          <a:cs typeface="Calibri" panose="020F0502020204030204" charset="0"/>
                        </a:rPr>
                        <a:t>.6.0</a:t>
                      </a:r>
                      <a:endParaRPr lang="en-US" altLang="en-US" sz="18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矩形 3"/>
          <p:cNvSpPr/>
          <p:nvPr/>
        </p:nvSpPr>
        <p:spPr>
          <a:xfrm>
            <a:off x="669925" y="2905760"/>
            <a:ext cx="10761345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本案例文件名为”Redis\Chapter08\springbootDemo”，新建一个Spring Boot项目，可以使用Spring Initalizr方式，这种方式很简单，通过在线网页设置项目的选项，自动生成Spring Boot项目。</a:t>
            </a:r>
          </a:p>
        </p:txBody>
      </p:sp>
      <p:sp>
        <p:nvSpPr>
          <p:cNvPr id="5" name="矩形 4"/>
          <p:cNvSpPr/>
          <p:nvPr/>
        </p:nvSpPr>
        <p:spPr>
          <a:xfrm>
            <a:off x="665480" y="3830955"/>
            <a:ext cx="5527675" cy="1753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olidFill>
                  <a:srgbClr val="002060"/>
                </a:solidFill>
                <a:sym typeface="+mn-ea"/>
              </a:rPr>
              <a:t>    </a:t>
            </a:r>
            <a:r>
              <a:rPr lang="zh-CN" altLang="en-US" dirty="0">
                <a:solidFill>
                  <a:srgbClr val="002060"/>
                </a:solidFill>
                <a:sym typeface="+mn-ea"/>
              </a:rPr>
              <a:t>首先在 http://start.spring.io/  上创建一个简单的SpringBoot应用。类型为Maven Project、开发语言为Java和Spring Boot版本为2.2.0M6，以及填写项目的基本信息Group和Artifact，如下图所示。最后点击”Generate the Project”按钮下载springbootDemo.zip压缩包。</a:t>
            </a:r>
          </a:p>
        </p:txBody>
      </p:sp>
      <p:pic>
        <p:nvPicPr>
          <p:cNvPr id="113" name="图片 1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4765" y="3633470"/>
            <a:ext cx="3589655" cy="2915285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e65c5f68-e392-4a6d-9126-92561a6eb973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1890</Words>
  <Application>Microsoft Office PowerPoint</Application>
  <PresentationFormat>宽屏</PresentationFormat>
  <Paragraphs>187</Paragraphs>
  <Slides>35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5</vt:i4>
      </vt:variant>
    </vt:vector>
  </HeadingPairs>
  <TitlesOfParts>
    <vt:vector size="43" baseType="lpstr">
      <vt:lpstr>华文楷体</vt:lpstr>
      <vt:lpstr>宋体</vt:lpstr>
      <vt:lpstr>微软雅黑</vt:lpstr>
      <vt:lpstr>微软雅黑 (正文)</vt:lpstr>
      <vt:lpstr>Arial</vt:lpstr>
      <vt:lpstr>Calibri</vt:lpstr>
      <vt:lpstr>Times New Roman</vt:lpstr>
      <vt:lpstr>主题5</vt:lpstr>
      <vt:lpstr>Redis 6 开发与实战</vt:lpstr>
      <vt:lpstr>PowerPoint 演示文稿</vt:lpstr>
      <vt:lpstr> 第七章  Spring Boot 与Redis整合与应用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学 习 进 步 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shuo</cp:lastModifiedBy>
  <cp:revision>204</cp:revision>
  <cp:lastPrinted>2021-11-30T03:01:00Z</cp:lastPrinted>
  <dcterms:created xsi:type="dcterms:W3CDTF">2021-11-30T03:01:00Z</dcterms:created>
  <dcterms:modified xsi:type="dcterms:W3CDTF">2022-03-14T12:45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